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72" r:id="rId1"/>
    <p:sldMasterId id="2147483702" r:id="rId2"/>
  </p:sldMasterIdLst>
  <p:notesMasterIdLst>
    <p:notesMasterId r:id="rId26"/>
  </p:notesMasterIdLst>
  <p:handoutMasterIdLst>
    <p:handoutMasterId r:id="rId27"/>
  </p:handoutMasterIdLst>
  <p:sldIdLst>
    <p:sldId id="282" r:id="rId3"/>
    <p:sldId id="478" r:id="rId4"/>
    <p:sldId id="497" r:id="rId5"/>
    <p:sldId id="480" r:id="rId6"/>
    <p:sldId id="481" r:id="rId7"/>
    <p:sldId id="498" r:id="rId8"/>
    <p:sldId id="474" r:id="rId9"/>
    <p:sldId id="482" r:id="rId10"/>
    <p:sldId id="475" r:id="rId11"/>
    <p:sldId id="490" r:id="rId12"/>
    <p:sldId id="476" r:id="rId13"/>
    <p:sldId id="484" r:id="rId14"/>
    <p:sldId id="485" r:id="rId15"/>
    <p:sldId id="477" r:id="rId16"/>
    <p:sldId id="486" r:id="rId17"/>
    <p:sldId id="479" r:id="rId18"/>
    <p:sldId id="487" r:id="rId19"/>
    <p:sldId id="488" r:id="rId20"/>
    <p:sldId id="491" r:id="rId21"/>
    <p:sldId id="492" r:id="rId22"/>
    <p:sldId id="493" r:id="rId23"/>
    <p:sldId id="494" r:id="rId24"/>
    <p:sldId id="495" r:id="rId25"/>
  </p:sldIdLst>
  <p:sldSz cx="11161713" cy="7921625"/>
  <p:notesSz cx="6797675" cy="9926638"/>
  <p:defaultTextStyle>
    <a:defPPr>
      <a:defRPr lang="en-US"/>
    </a:defPPr>
    <a:lvl1pPr marL="0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1pPr>
    <a:lvl2pPr marL="545211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2pPr>
    <a:lvl3pPr marL="1090422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3pPr>
    <a:lvl4pPr marL="1635633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4pPr>
    <a:lvl5pPr marL="2180844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5pPr>
    <a:lvl6pPr marL="2726055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6pPr>
    <a:lvl7pPr marL="3271266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7pPr>
    <a:lvl8pPr marL="3816477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8pPr>
    <a:lvl9pPr marL="4361688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75" userDrawn="1">
          <p15:clr>
            <a:srgbClr val="A4A3A4"/>
          </p15:clr>
        </p15:guide>
        <p15:guide id="2" pos="499" userDrawn="1">
          <p15:clr>
            <a:srgbClr val="A4A3A4"/>
          </p15:clr>
        </p15:guide>
        <p15:guide id="3" pos="40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D338A"/>
    <a:srgbClr val="EAECEE"/>
    <a:srgbClr val="F3C9B2"/>
    <a:srgbClr val="B2D4EC"/>
    <a:srgbClr val="C8E7A7"/>
    <a:srgbClr val="FF3399"/>
    <a:srgbClr val="2D3741"/>
    <a:srgbClr val="00FF00"/>
    <a:srgbClr val="3443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91082" autoAdjust="0"/>
  </p:normalViewPr>
  <p:slideViewPr>
    <p:cSldViewPr snapToGrid="0">
      <p:cViewPr varScale="1">
        <p:scale>
          <a:sx n="87" d="100"/>
          <a:sy n="87" d="100"/>
        </p:scale>
        <p:origin x="1062" y="78"/>
      </p:cViewPr>
      <p:guideLst>
        <p:guide orient="horz" pos="3175"/>
        <p:guide pos="499"/>
        <p:guide pos="4037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400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15C74C-F762-4231-81D0-8FD82B93ADA8}" type="datetimeFigureOut">
              <a:rPr lang="ko-KR" altLang="en-US" smtClean="0"/>
              <a:t>2024-06-1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1C01A3-CEA7-4BFF-AE43-97085C1847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6713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B41A65-4AAB-4DB7-9150-7E49A13EDA10}" type="datetimeFigureOut">
              <a:rPr lang="ko-KR" altLang="en-US" smtClean="0"/>
              <a:t>2024-06-1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039813" y="1241425"/>
            <a:ext cx="4718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4A1949-E4AA-4B74-A061-F9D78D34819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0842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1pPr>
    <a:lvl2pPr marL="545211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2pPr>
    <a:lvl3pPr marL="1090422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3pPr>
    <a:lvl4pPr marL="1635633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4pPr>
    <a:lvl5pPr marL="2180844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5pPr>
    <a:lvl6pPr marL="2726055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6pPr>
    <a:lvl7pPr marL="3271266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7pPr>
    <a:lvl8pPr marL="3816477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8pPr>
    <a:lvl9pPr marL="4361688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한화시스템</a:t>
            </a:r>
            <a:r>
              <a:rPr lang="ko-KR" altLang="en-US" dirty="0"/>
              <a:t> </a:t>
            </a:r>
            <a:r>
              <a:rPr lang="ko-KR" altLang="en-US" dirty="0" err="1"/>
              <a:t>구미사업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4272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46524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39719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20307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6573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77014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74119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3064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16855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6175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/>
          <p:cNvGrpSpPr/>
          <p:nvPr userDrawn="1"/>
        </p:nvGrpSpPr>
        <p:grpSpPr>
          <a:xfrm>
            <a:off x="0" y="-1"/>
            <a:ext cx="11161713" cy="7921626"/>
            <a:chOff x="0" y="-1"/>
            <a:chExt cx="11161713" cy="7921626"/>
          </a:xfrm>
        </p:grpSpPr>
        <p:sp>
          <p:nvSpPr>
            <p:cNvPr id="6" name="직사각형 5"/>
            <p:cNvSpPr/>
            <p:nvPr userDrawn="1"/>
          </p:nvSpPr>
          <p:spPr>
            <a:xfrm>
              <a:off x="0" y="5319539"/>
              <a:ext cx="11161713" cy="26020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" name="그림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5"/>
            <a:stretch/>
          </p:blipFill>
          <p:spPr>
            <a:xfrm>
              <a:off x="1" y="-1"/>
              <a:ext cx="11161712" cy="72011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7666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/>
          <p:cNvGrpSpPr/>
          <p:nvPr userDrawn="1"/>
        </p:nvGrpSpPr>
        <p:grpSpPr>
          <a:xfrm>
            <a:off x="0" y="-1"/>
            <a:ext cx="11161713" cy="7921626"/>
            <a:chOff x="0" y="-1"/>
            <a:chExt cx="11161713" cy="7921626"/>
          </a:xfrm>
        </p:grpSpPr>
        <p:sp>
          <p:nvSpPr>
            <p:cNvPr id="6" name="직사각형 5"/>
            <p:cNvSpPr/>
            <p:nvPr userDrawn="1"/>
          </p:nvSpPr>
          <p:spPr>
            <a:xfrm>
              <a:off x="0" y="5319539"/>
              <a:ext cx="11161713" cy="26020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" name="그림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5"/>
            <a:stretch/>
          </p:blipFill>
          <p:spPr>
            <a:xfrm>
              <a:off x="1" y="-1"/>
              <a:ext cx="11161712" cy="72011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2460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-3616" y="0"/>
            <a:ext cx="5599745" cy="7921625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2452255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17056" y="804329"/>
            <a:ext cx="4871822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이등변 삼각형 10"/>
          <p:cNvSpPr/>
          <p:nvPr/>
        </p:nvSpPr>
        <p:spPr>
          <a:xfrm rot="10800000" flipH="1">
            <a:off x="5593806" y="4102996"/>
            <a:ext cx="113622" cy="1465729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wrap="square" lIns="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0" y="3872002"/>
            <a:ext cx="5707428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2427250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0" y="3873904"/>
            <a:ext cx="5707427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708083" y="1230597"/>
            <a:ext cx="4237686" cy="914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35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8653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8653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70198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347715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011323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2938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1982523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2938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34003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818394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3326474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-3616" y="0"/>
            <a:ext cx="5599745" cy="7921625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2452255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17056" y="804329"/>
            <a:ext cx="4871822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이등변 삼각형 10"/>
          <p:cNvSpPr/>
          <p:nvPr/>
        </p:nvSpPr>
        <p:spPr>
          <a:xfrm rot="10800000" flipH="1">
            <a:off x="5593806" y="4102996"/>
            <a:ext cx="113622" cy="1465729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wrap="square" lIns="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0" y="3872002"/>
            <a:ext cx="5707428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2427250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0" y="3873904"/>
            <a:ext cx="5707427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708083" y="1230597"/>
            <a:ext cx="4237686" cy="914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806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8653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8653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70198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4288844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011323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2938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1982523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2938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34003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5894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1275782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Ⅰ. </a:t>
            </a:r>
            <a:r>
              <a:rPr lang="ko-KR" altLang="en-US" dirty="0"/>
              <a:t>함상인식용 </a:t>
            </a:r>
            <a:r>
              <a:rPr lang="ko-KR" altLang="en-US" dirty="0" err="1"/>
              <a:t>자동기뢰탐지장비</a:t>
            </a:r>
            <a:r>
              <a:rPr lang="ko-KR" altLang="en-US" dirty="0"/>
              <a:t> 개요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623447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Ⅱ. </a:t>
            </a:r>
            <a:r>
              <a:rPr lang="ko-KR" altLang="en-US" dirty="0"/>
              <a:t>기본 설계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4008864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III. </a:t>
            </a:r>
            <a:r>
              <a:rPr lang="ko-KR" altLang="en-US" dirty="0"/>
              <a:t>시험 계획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7674790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Ⅳ. </a:t>
            </a:r>
            <a:r>
              <a:rPr lang="ko-KR" altLang="en-US" dirty="0"/>
              <a:t>이슈 및 건의사항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667505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5.jpe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cho\Desktop\설명회_마스터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1158538" cy="791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그룹 20"/>
          <p:cNvGrpSpPr/>
          <p:nvPr userDrawn="1"/>
        </p:nvGrpSpPr>
        <p:grpSpPr>
          <a:xfrm>
            <a:off x="417849" y="1"/>
            <a:ext cx="45719" cy="944019"/>
            <a:chOff x="0" y="618381"/>
            <a:chExt cx="428400" cy="944019"/>
          </a:xfrm>
        </p:grpSpPr>
        <p:sp>
          <p:nvSpPr>
            <p:cNvPr id="22" name="직사각형 21"/>
            <p:cNvSpPr/>
            <p:nvPr/>
          </p:nvSpPr>
          <p:spPr>
            <a:xfrm>
              <a:off x="0" y="618381"/>
              <a:ext cx="428400" cy="936000"/>
            </a:xfrm>
            <a:prstGeom prst="rect">
              <a:avLst/>
            </a:prstGeom>
            <a:solidFill>
              <a:srgbClr val="5761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41" spc="-25">
                <a:ln>
                  <a:solidFill>
                    <a:srgbClr val="B2B2B2">
                      <a:alpha val="0"/>
                    </a:srgbClr>
                  </a:solidFill>
                  <a:prstDash val="solid"/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0" y="1130400"/>
              <a:ext cx="428400" cy="43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1821"/>
              <a:endParaRPr lang="ko-KR" altLang="en-US" sz="1987">
                <a:solidFill>
                  <a:prstClr val="white"/>
                </a:solidFill>
              </a:endParaRPr>
            </a:p>
          </p:txBody>
        </p:sp>
      </p:grpSp>
      <p:sp>
        <p:nvSpPr>
          <p:cNvPr id="8" name="제목 개체 틀 7"/>
          <p:cNvSpPr>
            <a:spLocks noGrp="1"/>
          </p:cNvSpPr>
          <p:nvPr>
            <p:ph type="title"/>
          </p:nvPr>
        </p:nvSpPr>
        <p:spPr>
          <a:xfrm>
            <a:off x="609957" y="516662"/>
            <a:ext cx="10080000" cy="4369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 defTabSz="1031821"/>
            <a:r>
              <a:rPr lang="ko-KR" altLang="en-US" dirty="0"/>
              <a:t>마스터 제목 스타일 편집</a:t>
            </a:r>
          </a:p>
        </p:txBody>
      </p:sp>
      <p:sp>
        <p:nvSpPr>
          <p:cNvPr id="25" name="텍스트 개체 틀 2"/>
          <p:cNvSpPr>
            <a:spLocks noGrp="1"/>
          </p:cNvSpPr>
          <p:nvPr>
            <p:ph type="body" idx="1"/>
          </p:nvPr>
        </p:nvSpPr>
        <p:spPr>
          <a:xfrm>
            <a:off x="609957" y="1224000"/>
            <a:ext cx="10080000" cy="342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8"/>
              </a:buBlip>
            </a:pPr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849" y="7357059"/>
            <a:ext cx="1737812" cy="290200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 userDrawn="1"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" t="16842" r="51604" b="25655"/>
          <a:stretch/>
        </p:blipFill>
        <p:spPr>
          <a:xfrm>
            <a:off x="2109148" y="7307235"/>
            <a:ext cx="1093182" cy="389848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57" y="7366841"/>
            <a:ext cx="1285054" cy="270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37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75" r:id="rId2"/>
    <p:sldLayoutId id="2147483688" r:id="rId3"/>
    <p:sldLayoutId id="2147483689" r:id="rId4"/>
    <p:sldLayoutId id="2147483686" r:id="rId5"/>
  </p:sldLayoutIdLst>
  <p:hf hdr="0" ftr="0" dt="0"/>
  <p:txStyles>
    <p:titleStyle>
      <a:lvl1pPr algn="l" defTabSz="865258" rtl="0" eaLnBrk="1" latinLnBrk="1" hangingPunct="1">
        <a:lnSpc>
          <a:spcPct val="100000"/>
        </a:lnSpc>
        <a:spcBef>
          <a:spcPct val="0"/>
        </a:spcBef>
        <a:buNone/>
        <a:defRPr lang="ko-KR" altLang="en-US" sz="2839" b="1" kern="1200" spc="-18" baseline="0" smtClean="0">
          <a:ln>
            <a:solidFill>
              <a:prstClr val="white">
                <a:alpha val="0"/>
              </a:prstClr>
            </a:solidFill>
          </a:ln>
          <a:gradFill>
            <a:gsLst>
              <a:gs pos="0">
                <a:schemeClr val="tx1"/>
              </a:gs>
              <a:gs pos="100000">
                <a:schemeClr val="tx1"/>
              </a:gs>
            </a:gsLst>
            <a:lin ang="0" scaled="1"/>
          </a:gradFill>
          <a:latin typeface="+mj-ea"/>
          <a:ea typeface="+mj-ea"/>
          <a:cs typeface="+mj-cs"/>
        </a:defRPr>
      </a:lvl1pPr>
    </p:titleStyle>
    <p:bodyStyle>
      <a:lvl1pPr marL="322444" indent="-322444" algn="l" defTabSz="1031821" rtl="0" eaLnBrk="1" latinLnBrk="1" hangingPunct="1">
        <a:lnSpc>
          <a:spcPct val="120000"/>
        </a:lnSpc>
        <a:spcBef>
          <a:spcPts val="0"/>
        </a:spcBef>
        <a:spcAft>
          <a:spcPts val="452"/>
        </a:spcAft>
        <a:buClr>
          <a:schemeClr val="tx1">
            <a:lumMod val="65000"/>
            <a:lumOff val="35000"/>
          </a:schemeClr>
        </a:buClr>
        <a:buSzPct val="130000"/>
        <a:buFontTx/>
        <a:buBlip>
          <a:blip r:embed="rId8"/>
        </a:buBlip>
        <a:defRPr lang="ko-KR" altLang="en-US" sz="1892" b="0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j-ea"/>
          <a:ea typeface="+mj-ea"/>
          <a:cs typeface="+mn-cs"/>
        </a:defRPr>
      </a:lvl1pPr>
      <a:lvl2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lang="ko-KR" altLang="en-US" sz="1514" b="1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n-ea"/>
          <a:ea typeface="+mn-ea"/>
          <a:cs typeface="+mn-cs"/>
        </a:defRPr>
      </a:lvl2pPr>
      <a:lvl3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892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3pPr>
      <a:lvl4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4pPr>
      <a:lvl5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5pPr>
      <a:lvl6pPr marL="237946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81209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244719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677347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1pPr>
      <a:lvl2pPr marL="432629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2pPr>
      <a:lvl3pPr marL="86525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3pPr>
      <a:lvl4pPr marL="129788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30517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63145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9577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02840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461033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cho\Desktop\설명회_마스터.jpg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1158538" cy="791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그룹 20"/>
          <p:cNvGrpSpPr/>
          <p:nvPr userDrawn="1"/>
        </p:nvGrpSpPr>
        <p:grpSpPr>
          <a:xfrm>
            <a:off x="417849" y="1"/>
            <a:ext cx="45719" cy="944019"/>
            <a:chOff x="0" y="618381"/>
            <a:chExt cx="428400" cy="944019"/>
          </a:xfrm>
        </p:grpSpPr>
        <p:sp>
          <p:nvSpPr>
            <p:cNvPr id="22" name="직사각형 21"/>
            <p:cNvSpPr/>
            <p:nvPr/>
          </p:nvSpPr>
          <p:spPr>
            <a:xfrm>
              <a:off x="0" y="618381"/>
              <a:ext cx="428400" cy="936000"/>
            </a:xfrm>
            <a:prstGeom prst="rect">
              <a:avLst/>
            </a:prstGeom>
            <a:solidFill>
              <a:srgbClr val="5761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41" spc="-25">
                <a:ln>
                  <a:solidFill>
                    <a:srgbClr val="B2B2B2">
                      <a:alpha val="0"/>
                    </a:srgbClr>
                  </a:solidFill>
                  <a:prstDash val="solid"/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0" y="1130400"/>
              <a:ext cx="428400" cy="43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1821"/>
              <a:endParaRPr lang="ko-KR" altLang="en-US" sz="1987">
                <a:solidFill>
                  <a:prstClr val="white"/>
                </a:solidFill>
              </a:endParaRPr>
            </a:p>
          </p:txBody>
        </p:sp>
      </p:grpSp>
      <p:sp>
        <p:nvSpPr>
          <p:cNvPr id="8" name="제목 개체 틀 7"/>
          <p:cNvSpPr>
            <a:spLocks noGrp="1"/>
          </p:cNvSpPr>
          <p:nvPr>
            <p:ph type="title"/>
          </p:nvPr>
        </p:nvSpPr>
        <p:spPr>
          <a:xfrm>
            <a:off x="609957" y="516662"/>
            <a:ext cx="10080000" cy="4369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 defTabSz="1031821"/>
            <a:r>
              <a:rPr lang="ko-KR" altLang="en-US" dirty="0"/>
              <a:t>마스터 제목 스타일 편집</a:t>
            </a:r>
          </a:p>
        </p:txBody>
      </p:sp>
      <p:sp>
        <p:nvSpPr>
          <p:cNvPr id="25" name="텍스트 개체 틀 2"/>
          <p:cNvSpPr>
            <a:spLocks noGrp="1"/>
          </p:cNvSpPr>
          <p:nvPr>
            <p:ph type="body" idx="1"/>
          </p:nvPr>
        </p:nvSpPr>
        <p:spPr>
          <a:xfrm>
            <a:off x="609957" y="1224000"/>
            <a:ext cx="10080000" cy="342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12"/>
              </a:buBlip>
            </a:pPr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849" y="7357059"/>
            <a:ext cx="1737812" cy="290200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 userDrawn="1"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" t="16842" r="51604" b="25655"/>
          <a:stretch/>
        </p:blipFill>
        <p:spPr>
          <a:xfrm>
            <a:off x="2109148" y="7307235"/>
            <a:ext cx="1093182" cy="389848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57" y="7366841"/>
            <a:ext cx="1285054" cy="270637"/>
          </a:xfrm>
          <a:prstGeom prst="rect">
            <a:avLst/>
          </a:prstGeom>
        </p:spPr>
      </p:pic>
      <p:sp>
        <p:nvSpPr>
          <p:cNvPr id="6" name="텍스트 개체 틀 12">
            <a:extLst>
              <a:ext uri="{FF2B5EF4-FFF2-40B4-BE49-F238E27FC236}">
                <a16:creationId xmlns:a16="http://schemas.microsoft.com/office/drawing/2014/main" id="{5FCB2412-9B5E-33AA-2AB7-B3A6E2DBB220}"/>
              </a:ext>
            </a:extLst>
          </p:cNvPr>
          <p:cNvSpPr txBox="1">
            <a:spLocks/>
          </p:cNvSpPr>
          <p:nvPr userDrawn="1"/>
        </p:nvSpPr>
        <p:spPr>
          <a:xfrm>
            <a:off x="535168" y="120395"/>
            <a:ext cx="6429836" cy="360000"/>
          </a:xfrm>
          <a:prstGeom prst="rect">
            <a:avLst/>
          </a:prstGeom>
        </p:spPr>
        <p:txBody>
          <a:bodyPr/>
          <a:lstStyle>
            <a:lvl1pPr marL="0" indent="0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None/>
              <a:defRPr lang="ko-KR" altLang="en-US" sz="2000" b="1" kern="1200" spc="-29" baseline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lang="ko-KR" altLang="en-US" sz="1514" b="1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n-ea"/>
                <a:ea typeface="+mn-ea"/>
                <a:cs typeface="+mn-cs"/>
              </a:defRPr>
            </a:lvl2pPr>
            <a:lvl3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892" kern="12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704" kern="12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704" kern="12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379460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12090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4719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7347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빅데이터를 이용한 </a:t>
            </a:r>
            <a:r>
              <a:rPr lang="en-US" altLang="ko-KR" dirty="0"/>
              <a:t>AI</a:t>
            </a:r>
            <a:r>
              <a:rPr lang="ko-KR" altLang="en-US" dirty="0"/>
              <a:t>기반 </a:t>
            </a:r>
            <a:r>
              <a:rPr lang="ko-KR" altLang="en-US" dirty="0" err="1"/>
              <a:t>자동기뢰탐지체계</a:t>
            </a:r>
            <a:endParaRPr lang="ko-KR" altLang="en-US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33480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9" r:id="rId2"/>
    <p:sldLayoutId id="2147483710" r:id="rId3"/>
    <p:sldLayoutId id="2147483711" r:id="rId4"/>
    <p:sldLayoutId id="2147483704" r:id="rId5"/>
    <p:sldLayoutId id="2147483705" r:id="rId6"/>
    <p:sldLayoutId id="2147483706" r:id="rId7"/>
    <p:sldLayoutId id="2147483707" r:id="rId8"/>
    <p:sldLayoutId id="2147483708" r:id="rId9"/>
  </p:sldLayoutIdLst>
  <p:hf hdr="0" ftr="0" dt="0"/>
  <p:txStyles>
    <p:titleStyle>
      <a:lvl1pPr algn="l" defTabSz="865258" rtl="0" eaLnBrk="1" latinLnBrk="1" hangingPunct="1">
        <a:lnSpc>
          <a:spcPct val="100000"/>
        </a:lnSpc>
        <a:spcBef>
          <a:spcPct val="0"/>
        </a:spcBef>
        <a:buNone/>
        <a:defRPr lang="ko-KR" altLang="en-US" sz="2839" b="1" kern="1200" spc="-18" baseline="0" smtClean="0">
          <a:ln>
            <a:solidFill>
              <a:prstClr val="white">
                <a:alpha val="0"/>
              </a:prstClr>
            </a:solidFill>
          </a:ln>
          <a:gradFill>
            <a:gsLst>
              <a:gs pos="0">
                <a:schemeClr val="tx1"/>
              </a:gs>
              <a:gs pos="100000">
                <a:schemeClr val="tx1"/>
              </a:gs>
            </a:gsLst>
            <a:lin ang="0" scaled="1"/>
          </a:gradFill>
          <a:latin typeface="+mj-ea"/>
          <a:ea typeface="+mj-ea"/>
          <a:cs typeface="+mj-cs"/>
        </a:defRPr>
      </a:lvl1pPr>
    </p:titleStyle>
    <p:bodyStyle>
      <a:lvl1pPr marL="322444" indent="-322444" algn="l" defTabSz="1031821" rtl="0" eaLnBrk="1" latinLnBrk="1" hangingPunct="1">
        <a:lnSpc>
          <a:spcPct val="120000"/>
        </a:lnSpc>
        <a:spcBef>
          <a:spcPts val="0"/>
        </a:spcBef>
        <a:spcAft>
          <a:spcPts val="452"/>
        </a:spcAft>
        <a:buClr>
          <a:schemeClr val="tx1">
            <a:lumMod val="65000"/>
            <a:lumOff val="35000"/>
          </a:schemeClr>
        </a:buClr>
        <a:buSzPct val="130000"/>
        <a:buFontTx/>
        <a:buBlip>
          <a:blip r:embed="rId12"/>
        </a:buBlip>
        <a:defRPr lang="ko-KR" altLang="en-US" sz="1892" b="0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j-ea"/>
          <a:ea typeface="+mj-ea"/>
          <a:cs typeface="+mn-cs"/>
        </a:defRPr>
      </a:lvl1pPr>
      <a:lvl2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lang="ko-KR" altLang="en-US" sz="1514" b="1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n-ea"/>
          <a:ea typeface="+mn-ea"/>
          <a:cs typeface="+mn-cs"/>
        </a:defRPr>
      </a:lvl2pPr>
      <a:lvl3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892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3pPr>
      <a:lvl4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4pPr>
      <a:lvl5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5pPr>
      <a:lvl6pPr marL="237946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81209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244719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677347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1pPr>
      <a:lvl2pPr marL="432629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2pPr>
      <a:lvl3pPr marL="86525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3pPr>
      <a:lvl4pPr marL="129788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30517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63145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9577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02840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461033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:\Users\cho\Desktop\설명회_마스터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65"/>
          <a:stretch/>
        </p:blipFill>
        <p:spPr bwMode="auto">
          <a:xfrm>
            <a:off x="0" y="1587"/>
            <a:ext cx="11158538" cy="726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제목 3"/>
          <p:cNvSpPr txBox="1">
            <a:spLocks/>
          </p:cNvSpPr>
          <p:nvPr/>
        </p:nvSpPr>
        <p:spPr>
          <a:xfrm>
            <a:off x="621505" y="2358782"/>
            <a:ext cx="7086555" cy="15388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1090422" rtl="0" eaLnBrk="1" latinLnBrk="1" hangingPunct="1">
              <a:spcBef>
                <a:spcPct val="0"/>
              </a:spcBef>
              <a:buNone/>
              <a:defRPr sz="4800" kern="1200">
                <a:gradFill>
                  <a:gsLst>
                    <a:gs pos="0">
                      <a:schemeClr val="accent1"/>
                    </a:gs>
                    <a:gs pos="100000">
                      <a:schemeClr val="accent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defTabSz="900113">
              <a:buClr>
                <a:prstClr val="black">
                  <a:lumMod val="75000"/>
                  <a:lumOff val="25000"/>
                </a:prstClr>
              </a:buClr>
              <a:defRPr/>
            </a:pPr>
            <a:r>
              <a:rPr lang="ko-KR" altLang="en-US" sz="28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빅데이터를 이용한 </a:t>
            </a:r>
            <a:r>
              <a:rPr lang="en-US" altLang="ko-KR" sz="28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AI</a:t>
            </a:r>
            <a:r>
              <a:rPr lang="ko-KR" altLang="en-US" sz="28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기반 </a:t>
            </a:r>
            <a:r>
              <a:rPr lang="ko-KR" altLang="en-US" sz="2800" spc="-3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자동기뢰탐지체계</a:t>
            </a:r>
            <a:br>
              <a:rPr lang="en-US" altLang="ko-KR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</a:br>
            <a:r>
              <a:rPr lang="ko-KR" altLang="en-US" sz="3600" b="1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함상인식용 </a:t>
            </a:r>
            <a:r>
              <a:rPr lang="ko-KR" altLang="en-US" sz="3600" b="1" spc="-3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자동기뢰탐지장비</a:t>
            </a:r>
            <a:endParaRPr lang="en-US" altLang="ko-KR" sz="3600" b="1" spc="-30" dirty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accent6">
                  <a:lumMod val="75000"/>
                </a:schemeClr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lvl="0" defTabSz="900113">
              <a:buClr>
                <a:prstClr val="black">
                  <a:lumMod val="75000"/>
                  <a:lumOff val="25000"/>
                </a:prstClr>
              </a:buClr>
              <a:defRPr/>
            </a:pPr>
            <a:r>
              <a:rPr lang="en-US" altLang="ko-KR" sz="3600" b="1" spc="-3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F</a:t>
            </a:r>
            <a:r>
              <a:rPr lang="en-US" altLang="ko-KR" sz="3600" b="1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/</a:t>
            </a:r>
            <a:r>
              <a:rPr lang="en-US" altLang="ko-KR" sz="3600" b="1" spc="-3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W </a:t>
            </a:r>
            <a:r>
              <a:rPr lang="en-US" altLang="ko-KR" sz="3600" b="1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PDR</a:t>
            </a:r>
          </a:p>
        </p:txBody>
      </p:sp>
      <p:sp>
        <p:nvSpPr>
          <p:cNvPr id="9" name="부제목 7"/>
          <p:cNvSpPr txBox="1">
            <a:spLocks/>
          </p:cNvSpPr>
          <p:nvPr/>
        </p:nvSpPr>
        <p:spPr>
          <a:xfrm>
            <a:off x="621683" y="4614817"/>
            <a:ext cx="1971694" cy="36933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buNone/>
              <a:defRPr sz="3000" spc="-60">
                <a:ln>
                  <a:solidFill>
                    <a:srgbClr val="FF7108">
                      <a:shade val="50000"/>
                      <a:alpha val="0"/>
                    </a:srgb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pPr marL="0" marR="0" lvl="0" indent="0" algn="l" defTabSz="10902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0" i="0" u="none" strike="noStrike" kern="1200" cap="none" spc="-3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2024</a:t>
            </a:r>
            <a:r>
              <a:rPr kumimoji="0" lang="en-US" altLang="ko-KR" sz="2400" b="0" i="0" u="none" strike="noStrike" kern="1200" cap="none" spc="-3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. 05. 31(</a:t>
            </a:r>
            <a:r>
              <a:rPr lang="ko-KR" altLang="en-US" sz="24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KoPub돋움체 Medium"/>
                <a:ea typeface="KoPub돋움체 Medium"/>
              </a:rPr>
              <a:t>금</a:t>
            </a:r>
            <a:r>
              <a:rPr kumimoji="0" lang="en-US" altLang="ko-KR" sz="2400" b="0" i="0" u="none" strike="noStrike" kern="1200" cap="none" spc="-3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)</a:t>
            </a:r>
            <a:endParaRPr kumimoji="0" lang="en-US" altLang="ko-KR" sz="2400" b="0" i="0" u="none" strike="noStrike" kern="1200" cap="none" spc="-3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Medium"/>
              <a:ea typeface="KoPub돋움체 Medium"/>
              <a:cs typeface="+mj-cs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612775" y="2084130"/>
            <a:ext cx="4366579" cy="66905"/>
            <a:chOff x="612775" y="1692560"/>
            <a:chExt cx="4366579" cy="138913"/>
          </a:xfrm>
        </p:grpSpPr>
        <p:sp>
          <p:nvSpPr>
            <p:cNvPr id="12" name="직사각형 11"/>
            <p:cNvSpPr/>
            <p:nvPr/>
          </p:nvSpPr>
          <p:spPr>
            <a:xfrm>
              <a:off x="612775" y="1692560"/>
              <a:ext cx="1511697" cy="138913"/>
            </a:xfrm>
            <a:prstGeom prst="rect">
              <a:avLst/>
            </a:prstGeom>
            <a:solidFill>
              <a:srgbClr val="F171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45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14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/>
                <a:ea typeface="KoPub돋움체 Medium"/>
                <a:cs typeface="+mn-cs"/>
              </a:endParaRP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2071627" y="1692560"/>
              <a:ext cx="1511697" cy="138913"/>
            </a:xfrm>
            <a:prstGeom prst="rect">
              <a:avLst/>
            </a:prstGeom>
            <a:solidFill>
              <a:srgbClr val="F9A3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45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14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/>
                <a:ea typeface="KoPub돋움체 Medium"/>
                <a:cs typeface="+mn-cs"/>
              </a:endParaRPr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3467657" y="1692560"/>
              <a:ext cx="1511697" cy="1389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45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14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/>
                <a:ea typeface="KoPub돋움체 Medium"/>
                <a:cs typeface="+mn-cs"/>
              </a:endParaRPr>
            </a:p>
          </p:txBody>
        </p:sp>
      </p:grpSp>
      <p:pic>
        <p:nvPicPr>
          <p:cNvPr id="15" name="Picture 3" descr="D:\1. 사내한\2. 임시폴더(무조건 지움)\회사로고\Hanwha Systems_CMYK_43_EH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80" y="1582574"/>
            <a:ext cx="2466798" cy="38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9677400" y="99060"/>
            <a:ext cx="1264920" cy="7696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6" name="직선 연결선 15"/>
          <p:cNvCxnSpPr/>
          <p:nvPr/>
        </p:nvCxnSpPr>
        <p:spPr>
          <a:xfrm flipV="1">
            <a:off x="9677400" y="99060"/>
            <a:ext cx="1264920" cy="7696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부제목 7"/>
          <p:cNvSpPr txBox="1">
            <a:spLocks/>
          </p:cNvSpPr>
          <p:nvPr/>
        </p:nvSpPr>
        <p:spPr>
          <a:xfrm>
            <a:off x="10418831" y="483870"/>
            <a:ext cx="338554" cy="36933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buNone/>
              <a:defRPr sz="3000" spc="-60">
                <a:ln>
                  <a:solidFill>
                    <a:srgbClr val="FF7108">
                      <a:shade val="50000"/>
                      <a:alpha val="0"/>
                    </a:srgb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pPr marL="0" marR="0" lvl="0" indent="0" algn="l" defTabSz="10902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0" i="0" u="none" strike="noStrike" kern="1200" cap="none" spc="-3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30</a:t>
            </a:r>
          </a:p>
        </p:txBody>
      </p:sp>
    </p:spTree>
    <p:extLst>
      <p:ext uri="{BB962C8B-B14F-4D97-AF65-F5344CB8AC3E}">
        <p14:creationId xmlns:p14="http://schemas.microsoft.com/office/powerpoint/2010/main" val="13257746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수집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279E680D-7E5E-4C18-AAC2-7D42068B57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0460" y="2016596"/>
            <a:ext cx="4624380" cy="4797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697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11" name="그림 10">
            <a:extLst>
              <a:ext uri="{FF2B5EF4-FFF2-40B4-BE49-F238E27FC236}">
                <a16:creationId xmlns:a16="http://schemas.microsoft.com/office/drawing/2014/main" id="{60F16B49-C93F-4B9C-AB8E-865ECE2DD4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3436" y="1891490"/>
            <a:ext cx="7733590" cy="523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473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r>
              <a:rPr lang="en-US" altLang="ko-KR"/>
              <a:t>(1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396839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``</a:t>
                      </a:r>
                      <a:r>
                        <a:rPr lang="ko-KR" altLang="en-US"/>
                        <a:t>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8DB1A7F3-A6EF-41D9-AD1D-68CE419211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8115" y="1810330"/>
            <a:ext cx="6397444" cy="488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73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r>
              <a:rPr lang="en-US" altLang="ko-KR"/>
              <a:t>(2/2)</a:t>
            </a:r>
            <a:endParaRPr lang="ko-KR" altLang="en-US"/>
          </a:p>
          <a:p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F47E54B0-E8DA-402C-896E-C6BDCB0F01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8165" y="2368343"/>
            <a:ext cx="7852966" cy="4328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392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송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34CB776D-74FB-49EA-AB80-A497D1A2D2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9825" y="3480116"/>
            <a:ext cx="6886433" cy="17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8363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송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9" name="그림 8">
            <a:extLst>
              <a:ext uri="{FF2B5EF4-FFF2-40B4-BE49-F238E27FC236}">
                <a16:creationId xmlns:a16="http://schemas.microsoft.com/office/drawing/2014/main" id="{0D4D37A9-3390-477A-879B-AE5C38F2CB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3200" y="2613142"/>
            <a:ext cx="5900424" cy="3076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7136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송풍팬 제어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293EE577-D7AC-46DF-A49C-6703CBCA50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225" y="2854491"/>
            <a:ext cx="7857999" cy="3021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18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송풍팬 제어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525EC6BF-4974-4CD3-9A75-A56A869BCE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3760" y="2576159"/>
            <a:ext cx="8225287" cy="354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4085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XXXX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765544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7E75D0F7-8DF5-4741-A91F-C8A301C43F08}"/>
              </a:ext>
            </a:extLst>
          </p:cNvPr>
          <p:cNvSpPr/>
          <p:nvPr/>
        </p:nvSpPr>
        <p:spPr>
          <a:xfrm>
            <a:off x="609599" y="3960812"/>
            <a:ext cx="10120313" cy="12062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>
                <a:solidFill>
                  <a:srgbClr val="0000FF"/>
                </a:solidFill>
              </a:rPr>
              <a:t>활동 다이어그램</a:t>
            </a:r>
          </a:p>
        </p:txBody>
      </p:sp>
    </p:spTree>
    <p:extLst>
      <p:ext uri="{BB962C8B-B14F-4D97-AF65-F5344CB8AC3E}">
        <p14:creationId xmlns:p14="http://schemas.microsoft.com/office/powerpoint/2010/main" val="37185890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하드웨어 초기화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86200764-8833-4DD3-AD3E-F7A4AF3AA4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1850" y="1891491"/>
            <a:ext cx="5295598" cy="5224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813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구성 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F12CA793-4CC6-4D37-8485-0D56052C07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3984" y="1896353"/>
            <a:ext cx="6653744" cy="514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2067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수집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3944F636-93D0-4B42-8F81-A40FB7D063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7408" y="1891491"/>
            <a:ext cx="5437194" cy="4970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886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928792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algn="ctr"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14052ACE-C3C5-4FB1-90B5-4464EB3E57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4980" y="1770196"/>
            <a:ext cx="9285564" cy="5285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691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송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4F0E1B47-A899-4762-8599-DC38175EB7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7549" y="3003243"/>
            <a:ext cx="5924265" cy="2815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834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송풍팬 제어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8354302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algn="ctr"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26CBC711-D2F5-4905-858F-998CBA50F1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4129" y="2514903"/>
            <a:ext cx="7704544" cy="400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948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100FD72A-1E9E-4F73-A5C8-C3AD0B094A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848" y="74070"/>
            <a:ext cx="10860016" cy="777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2544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활동 다이어그램 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9" name="그림 8">
            <a:extLst>
              <a:ext uri="{FF2B5EF4-FFF2-40B4-BE49-F238E27FC236}">
                <a16:creationId xmlns:a16="http://schemas.microsoft.com/office/drawing/2014/main" id="{B263E2E6-0322-4AFE-9D8E-5070449802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696" y="2016596"/>
            <a:ext cx="4588903" cy="4858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64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순서도</a:t>
            </a:r>
            <a:r>
              <a:rPr lang="en-US" altLang="ko-KR"/>
              <a:t>(1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2D65BC3E-5CD2-429D-A623-C82734498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3168" y="1694318"/>
            <a:ext cx="7815375" cy="5545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894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순서도</a:t>
            </a:r>
            <a:r>
              <a:rPr lang="en-US" altLang="ko-KR"/>
              <a:t>(2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EFCC86F8-6D6F-48DA-BFD8-280BCCA8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9945" y="2290899"/>
            <a:ext cx="7793323" cy="383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8633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하드웨어 초기화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4FD6554F-9C11-4719-A02E-7FDEFC174E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200" y="1776723"/>
            <a:ext cx="6936966" cy="5262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291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하드웨어 초기화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58CAF663-6BE9-4D6D-8B93-B674CE7FAC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7649" y="1758141"/>
            <a:ext cx="4229101" cy="527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5701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수집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FA8108A1-AC3E-4BED-97A0-A36FB4032E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5749" y="2016596"/>
            <a:ext cx="7430213" cy="47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32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heme/theme1.xml><?xml version="1.0" encoding="utf-8"?>
<a:theme xmlns:a="http://schemas.openxmlformats.org/drawingml/2006/main" name="기본">
  <a:themeElements>
    <a:clrScheme name="발표자료_판교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E60A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발표자료">
      <a:majorFont>
        <a:latin typeface="KoPub돋움체 Bold"/>
        <a:ea typeface="KoPub돋움체 Bold"/>
        <a:cs typeface=""/>
      </a:majorFont>
      <a:minorFont>
        <a:latin typeface="KoPub돋움체 Medium"/>
        <a:ea typeface="KoPub돋움체 Medi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기본">
  <a:themeElements>
    <a:clrScheme name="발표자료_판교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E60A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발표자료">
      <a:majorFont>
        <a:latin typeface="KoPub돋움체 Bold"/>
        <a:ea typeface="KoPub돋움체 Bold"/>
        <a:cs typeface=""/>
      </a:majorFont>
      <a:minorFont>
        <a:latin typeface="KoPub돋움체 Medium"/>
        <a:ea typeface="KoPub돋움체 Medi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802</TotalTime>
  <Words>146</Words>
  <Application>Microsoft Office PowerPoint</Application>
  <PresentationFormat>사용자 지정</PresentationFormat>
  <Paragraphs>39</Paragraphs>
  <Slides>23</Slides>
  <Notes>10</Notes>
  <HiddenSlides>0</HiddenSlides>
  <MMClips>0</MMClips>
  <ScaleCrop>false</ScaleCrop>
  <HeadingPairs>
    <vt:vector size="6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23</vt:i4>
      </vt:variant>
    </vt:vector>
  </HeadingPairs>
  <TitlesOfParts>
    <vt:vector size="34" baseType="lpstr">
      <vt:lpstr>KoPub돋움체 Bold</vt:lpstr>
      <vt:lpstr>KoPub돋움체 Medium</vt:lpstr>
      <vt:lpstr>Rix모던고딕 B</vt:lpstr>
      <vt:lpstr>에스코어 드림 7 ExtraBold</vt:lpstr>
      <vt:lpstr>Arial</vt:lpstr>
      <vt:lpstr>HY견명조</vt:lpstr>
      <vt:lpstr>HY헤드라인M</vt:lpstr>
      <vt:lpstr>Wingdings</vt:lpstr>
      <vt:lpstr>맑은 고딕</vt:lpstr>
      <vt:lpstr>기본</vt:lpstr>
      <vt:lpstr>1_기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김태건(TaeGeon Kim)/해양시스템 2팀</dc:creator>
  <cp:lastModifiedBy>Hwang Bradly</cp:lastModifiedBy>
  <cp:revision>1044</cp:revision>
  <cp:lastPrinted>2024-01-10T04:32:56Z</cp:lastPrinted>
  <dcterms:created xsi:type="dcterms:W3CDTF">2019-11-23T00:17:04Z</dcterms:created>
  <dcterms:modified xsi:type="dcterms:W3CDTF">2024-06-18T01:39:45Z</dcterms:modified>
</cp:coreProperties>
</file>